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3"/>
  </p:notesMasterIdLst>
  <p:handoutMasterIdLst>
    <p:handoutMasterId r:id="rId14"/>
  </p:handoutMasterIdLst>
  <p:sldIdLst>
    <p:sldId id="267" r:id="rId6"/>
    <p:sldId id="271" r:id="rId7"/>
    <p:sldId id="269" r:id="rId8"/>
    <p:sldId id="258" r:id="rId9"/>
    <p:sldId id="268" r:id="rId10"/>
    <p:sldId id="270" r:id="rId11"/>
    <p:sldId id="257" r:id="rId12"/>
  </p:sldIdLst>
  <p:sldSz cx="12192000" cy="6858000"/>
  <p:notesSz cx="7099300" cy="10234613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94696" autoAdjust="0"/>
  </p:normalViewPr>
  <p:slideViewPr>
    <p:cSldViewPr snapToObjects="1" showGuides="1">
      <p:cViewPr varScale="1">
        <p:scale>
          <a:sx n="68" d="100"/>
          <a:sy n="68" d="100"/>
        </p:scale>
        <p:origin x="738" y="7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4</a:t>
            </a:r>
            <a:r>
              <a:rPr lang="en-US" altLang="zh-CN" baseline="30000" dirty="0"/>
              <a:t>th</a:t>
            </a:r>
            <a:r>
              <a:rPr lang="en-US" altLang="zh-CN" dirty="0"/>
              <a:t> – Jun - 2023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CC </a:t>
            </a:r>
            <a:r>
              <a:rPr lang="en-US" altLang="zh-CN" dirty="0"/>
              <a:t>compensation user manual</a:t>
            </a:r>
            <a:br>
              <a:rPr lang="en-US" altLang="zh-CN" dirty="0"/>
            </a:br>
            <a:r>
              <a:rPr lang="en-US" altLang="zh-CN" dirty="0"/>
              <a:t>Project - </a:t>
            </a:r>
            <a:r>
              <a:rPr lang="en-US" altLang="zh-CN" dirty="0" err="1"/>
              <a:t>Akari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1C37C-780E-58AE-9B0E-DC06ADCA4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gram running environment 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D08748-5B63-E3D5-9520-8D22CF204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41E642-100F-FE15-0EEC-310E74AB11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E03698-9B40-F0F1-9A88-1A3E3AE3D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130" y="1167713"/>
            <a:ext cx="5004556" cy="49426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88CA470-49CB-87D5-CBD6-9EE2BAEA97EB}"/>
              </a:ext>
            </a:extLst>
          </p:cNvPr>
          <p:cNvSpPr txBox="1"/>
          <p:nvPr/>
        </p:nvSpPr>
        <p:spPr bwMode="auto">
          <a:xfrm>
            <a:off x="6065720" y="4624097"/>
            <a:ext cx="3879267" cy="96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from ANACONDA Launch VS code</a:t>
            </a:r>
          </a:p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SG" sz="1800" kern="0" dirty="0">
                <a:latin typeface="+mn-lt"/>
              </a:rPr>
              <a:t>load the program folder.</a:t>
            </a:r>
          </a:p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grogram file is </a:t>
            </a:r>
            <a:r>
              <a:rPr lang="en-SG" sz="1800" kern="0" baseline="0" dirty="0" err="1">
                <a:latin typeface="+mn-lt"/>
                <a:ea typeface="+mn-ea"/>
                <a:cs typeface="+mn-cs"/>
              </a:rPr>
              <a:t>Jupyter</a:t>
            </a:r>
            <a:r>
              <a:rPr lang="en-SG" sz="1800" kern="0" baseline="0" dirty="0">
                <a:latin typeface="+mn-lt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38877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92A26C-3AEB-46E1-EDAA-670C61A4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Prepare documents or folder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650D63-2699-0F4D-283F-B2CEB9DD3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BCE390-4E82-39F4-5B2E-097A1B0FB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9162" y="5986405"/>
            <a:ext cx="0" cy="0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A2E053-F8FF-35A6-F554-F8CD7AF3C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384" y="2607688"/>
            <a:ext cx="9829092" cy="8788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450EEA-BDD2-2A21-8C17-2D7BA4BD0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688" y="3893792"/>
            <a:ext cx="10348483" cy="2956709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36E47A6C-C963-C009-7A75-23A82DB53490}"/>
              </a:ext>
            </a:extLst>
          </p:cNvPr>
          <p:cNvGrpSpPr/>
          <p:nvPr/>
        </p:nvGrpSpPr>
        <p:grpSpPr>
          <a:xfrm>
            <a:off x="2439994" y="3034267"/>
            <a:ext cx="612068" cy="2010766"/>
            <a:chOff x="2171564" y="1816254"/>
            <a:chExt cx="612068" cy="2010766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4BC54A21-2227-6075-29C3-3DA6E357FE1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71564" y="3827020"/>
              <a:ext cx="61206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A966747-2911-5820-D0AA-CA93DCD06058}"/>
                </a:ext>
              </a:extLst>
            </p:cNvPr>
            <p:cNvCxnSpPr/>
            <p:nvPr/>
          </p:nvCxnSpPr>
          <p:spPr>
            <a:xfrm flipV="1">
              <a:off x="2783632" y="1816254"/>
              <a:ext cx="0" cy="2010766"/>
            </a:xfrm>
            <a:prstGeom prst="line">
              <a:avLst/>
            </a:prstGeom>
            <a:ln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207C6BE-FB2C-82D7-C83F-765FB819A482}"/>
                </a:ext>
              </a:extLst>
            </p:cNvPr>
            <p:cNvCxnSpPr/>
            <p:nvPr/>
          </p:nvCxnSpPr>
          <p:spPr>
            <a:xfrm>
              <a:off x="2351584" y="1816254"/>
              <a:ext cx="43204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887F128-4285-4BBB-3550-3EE8F69FCCD8}"/>
              </a:ext>
            </a:extLst>
          </p:cNvPr>
          <p:cNvCxnSpPr>
            <a:cxnSpLocks/>
          </p:cNvCxnSpPr>
          <p:nvPr/>
        </p:nvCxnSpPr>
        <p:spPr>
          <a:xfrm>
            <a:off x="320290" y="5703255"/>
            <a:ext cx="7200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1A8282C-6B6F-BA5A-6527-BCF6022DC08F}"/>
              </a:ext>
            </a:extLst>
          </p:cNvPr>
          <p:cNvCxnSpPr>
            <a:cxnSpLocks/>
          </p:cNvCxnSpPr>
          <p:nvPr/>
        </p:nvCxnSpPr>
        <p:spPr>
          <a:xfrm flipV="1">
            <a:off x="333066" y="3290987"/>
            <a:ext cx="0" cy="2412268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FE89A52-1E90-76EE-E3B6-A068D734670F}"/>
              </a:ext>
            </a:extLst>
          </p:cNvPr>
          <p:cNvCxnSpPr>
            <a:cxnSpLocks/>
          </p:cNvCxnSpPr>
          <p:nvPr/>
        </p:nvCxnSpPr>
        <p:spPr>
          <a:xfrm>
            <a:off x="320290" y="3290987"/>
            <a:ext cx="1252561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3AA9A86-886F-6D31-62E3-189B14A91BDB}"/>
              </a:ext>
            </a:extLst>
          </p:cNvPr>
          <p:cNvGrpSpPr/>
          <p:nvPr/>
        </p:nvGrpSpPr>
        <p:grpSpPr>
          <a:xfrm>
            <a:off x="2620014" y="2760589"/>
            <a:ext cx="2191712" cy="3518723"/>
            <a:chOff x="591920" y="1816254"/>
            <a:chExt cx="2191712" cy="2010766"/>
          </a:xfrm>
        </p:grpSpPr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0628A86F-0774-1572-52EB-1043364585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1920" y="3827020"/>
              <a:ext cx="219171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A8CF41-272B-41CF-87B2-D6B77B7E6645}"/>
                </a:ext>
              </a:extLst>
            </p:cNvPr>
            <p:cNvCxnSpPr/>
            <p:nvPr/>
          </p:nvCxnSpPr>
          <p:spPr>
            <a:xfrm flipV="1">
              <a:off x="2783632" y="1816254"/>
              <a:ext cx="0" cy="2010766"/>
            </a:xfrm>
            <a:prstGeom prst="line">
              <a:avLst/>
            </a:prstGeom>
            <a:ln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603390A-83E4-8E1E-3132-3EA8B06F4C11}"/>
                </a:ext>
              </a:extLst>
            </p:cNvPr>
            <p:cNvCxnSpPr/>
            <p:nvPr/>
          </p:nvCxnSpPr>
          <p:spPr>
            <a:xfrm>
              <a:off x="2351584" y="1816254"/>
              <a:ext cx="432048" cy="0"/>
            </a:xfrm>
            <a:prstGeom prst="line">
              <a:avLst/>
            </a:prstGeom>
            <a:ln w="9525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4EC4630B-3827-C63D-F346-4485291508DB}"/>
              </a:ext>
            </a:extLst>
          </p:cNvPr>
          <p:cNvSpPr txBox="1"/>
          <p:nvPr/>
        </p:nvSpPr>
        <p:spPr bwMode="auto">
          <a:xfrm>
            <a:off x="6906692" y="4147198"/>
            <a:ext cx="4068451" cy="303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altLang="zh-CN" sz="1800" kern="0" baseline="0" dirty="0">
                <a:latin typeface="+mn-lt"/>
                <a:ea typeface="+mn-ea"/>
                <a:cs typeface="+mn-cs"/>
              </a:rPr>
              <a:t>demo only</a:t>
            </a:r>
            <a:r>
              <a:rPr lang="zh-CN" altLang="en-US" sz="1800" kern="0" baseline="0" dirty="0">
                <a:latin typeface="+mn-lt"/>
                <a:ea typeface="+mn-ea"/>
                <a:cs typeface="+mn-cs"/>
              </a:rPr>
              <a:t>， </a:t>
            </a:r>
            <a:r>
              <a:rPr lang="en-US" altLang="zh-CN" sz="1800" kern="0" baseline="0" dirty="0">
                <a:latin typeface="+mn-lt"/>
                <a:ea typeface="+mn-ea"/>
                <a:cs typeface="+mn-cs"/>
              </a:rPr>
              <a:t>no function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F6F827C-8394-292B-CDC3-16D246AC0363}"/>
              </a:ext>
            </a:extLst>
          </p:cNvPr>
          <p:cNvCxnSpPr/>
          <p:nvPr/>
        </p:nvCxnSpPr>
        <p:spPr>
          <a:xfrm>
            <a:off x="5999223" y="4299099"/>
            <a:ext cx="82419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FEFE2F9-35B4-C198-5C7A-AF6F2B071F69}"/>
              </a:ext>
            </a:extLst>
          </p:cNvPr>
          <p:cNvSpPr txBox="1"/>
          <p:nvPr/>
        </p:nvSpPr>
        <p:spPr bwMode="auto">
          <a:xfrm>
            <a:off x="2718875" y="6263028"/>
            <a:ext cx="236279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altLang="zh-CN" sz="1800" kern="0" baseline="0" dirty="0">
                <a:latin typeface="+mn-lt"/>
                <a:ea typeface="+mn-ea"/>
                <a:cs typeface="+mn-cs"/>
              </a:rPr>
              <a:t>loading set up file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5C1B2E4-5E83-1CA2-F077-08C496AF3E57}"/>
              </a:ext>
            </a:extLst>
          </p:cNvPr>
          <p:cNvSpPr txBox="1"/>
          <p:nvPr/>
        </p:nvSpPr>
        <p:spPr bwMode="auto">
          <a:xfrm>
            <a:off x="10139047" y="5221207"/>
            <a:ext cx="2232248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SG" sz="1800" kern="0" dirty="0">
                <a:latin typeface="+mn-lt"/>
              </a:rPr>
              <a:t>1. </a:t>
            </a:r>
            <a:r>
              <a:rPr lang="en-US" altLang="zh-CN" sz="1800" kern="0" dirty="0">
                <a:latin typeface="+mn-lt"/>
              </a:rPr>
              <a:t>click this one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BBB2785-4DDA-9B28-CF60-43657D2B048E}"/>
              </a:ext>
            </a:extLst>
          </p:cNvPr>
          <p:cNvSpPr txBox="1"/>
          <p:nvPr/>
        </p:nvSpPr>
        <p:spPr bwMode="auto">
          <a:xfrm>
            <a:off x="10401410" y="6142354"/>
            <a:ext cx="2232248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SG" sz="1800" kern="0" dirty="0">
                <a:latin typeface="+mn-lt"/>
              </a:rPr>
              <a:t>2. </a:t>
            </a:r>
            <a:r>
              <a:rPr lang="en-US" altLang="zh-CN" sz="1800" kern="0" dirty="0">
                <a:latin typeface="+mn-lt"/>
              </a:rPr>
              <a:t>click this one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DE6B48-4272-9494-B74C-4352FA2BA4F3}"/>
              </a:ext>
            </a:extLst>
          </p:cNvPr>
          <p:cNvSpPr txBox="1"/>
          <p:nvPr/>
        </p:nvSpPr>
        <p:spPr bwMode="auto">
          <a:xfrm>
            <a:off x="592555" y="1312288"/>
            <a:ext cx="9098677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US" altLang="zh-CN" sz="1800" kern="0" baseline="0" dirty="0">
                <a:latin typeface="+mn-lt"/>
                <a:ea typeface="+mn-ea"/>
                <a:cs typeface="+mn-cs"/>
              </a:rPr>
              <a:t>before program running, please delete all result files and New ACC folder    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28BF6C8E-8508-7AD2-B1CC-8C86B0E4CC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7315" y="804017"/>
            <a:ext cx="2562225" cy="27622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34CF51C7-CBA5-45CF-C7BE-76BB7CEC3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3453" y="1080242"/>
            <a:ext cx="1447800" cy="1295400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25E49FC-191A-3D9B-8B42-FF02DF891438}"/>
              </a:ext>
            </a:extLst>
          </p:cNvPr>
          <p:cNvCxnSpPr/>
          <p:nvPr/>
        </p:nvCxnSpPr>
        <p:spPr>
          <a:xfrm>
            <a:off x="0" y="2431914"/>
            <a:ext cx="11928648" cy="0"/>
          </a:xfrm>
          <a:prstGeom prst="line">
            <a:avLst/>
          </a:prstGeom>
          <a:ln w="38100">
            <a:solidFill>
              <a:schemeClr val="bg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125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5625127-8DEC-6957-3747-ACA00BF1C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6759" y="1407131"/>
            <a:ext cx="2520280" cy="5002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FFBFFE-2F69-1CC2-BD59-3F87A96E849D}"/>
              </a:ext>
            </a:extLst>
          </p:cNvPr>
          <p:cNvSpPr txBox="1"/>
          <p:nvPr/>
        </p:nvSpPr>
        <p:spPr bwMode="auto">
          <a:xfrm>
            <a:off x="467109" y="1409525"/>
            <a:ext cx="252028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Program fold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C4CFF0-804F-6FA3-020A-BE80310E2B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3412" y="2214413"/>
            <a:ext cx="8158621" cy="15481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5E35354-BEC5-77A6-3032-640686219F75}"/>
              </a:ext>
            </a:extLst>
          </p:cNvPr>
          <p:cNvSpPr/>
          <p:nvPr/>
        </p:nvSpPr>
        <p:spPr bwMode="auto">
          <a:xfrm>
            <a:off x="2987389" y="2200345"/>
            <a:ext cx="8028892" cy="293202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4D66436-F5E3-5F3C-6D4A-52C005267A48}"/>
              </a:ext>
            </a:extLst>
          </p:cNvPr>
          <p:cNvCxnSpPr/>
          <p:nvPr/>
        </p:nvCxnSpPr>
        <p:spPr>
          <a:xfrm flipV="1">
            <a:off x="7847929" y="1796211"/>
            <a:ext cx="468052" cy="526214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C24D61E-8BEA-BA3D-07AB-F89F0CAFDDCD}"/>
              </a:ext>
            </a:extLst>
          </p:cNvPr>
          <p:cNvSpPr txBox="1"/>
          <p:nvPr/>
        </p:nvSpPr>
        <p:spPr bwMode="auto">
          <a:xfrm>
            <a:off x="8081955" y="1124954"/>
            <a:ext cx="3510390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latin typeface="+mn-lt"/>
              </a:rPr>
              <a:t>program start from this file 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latin typeface="+mn-lt"/>
              </a:rPr>
              <a:t>Run GUI from this TP 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CF37E7-A01B-415E-3609-DC49CCBED1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3412" y="4635911"/>
            <a:ext cx="6648450" cy="124777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3AEC09F-B18C-337E-1474-BDFF85F2F491}"/>
              </a:ext>
            </a:extLst>
          </p:cNvPr>
          <p:cNvSpPr txBox="1"/>
          <p:nvPr/>
        </p:nvSpPr>
        <p:spPr bwMode="auto">
          <a:xfrm>
            <a:off x="3203412" y="3901365"/>
            <a:ext cx="6948773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results come out </a:t>
            </a:r>
            <a:r>
              <a:rPr lang="en-SG" sz="1800" kern="0" dirty="0">
                <a:latin typeface="+mn-lt"/>
              </a:rPr>
              <a:t>after program run 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latin typeface="+mn-lt"/>
              </a:rPr>
              <a:t>before running program, please remove these files</a:t>
            </a:r>
            <a:endParaRPr lang="en-SG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399C9-B382-670E-40F6-29CE657F4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/>
              <a:t>remember to change 1 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1C8D19-BB07-9366-EC57-F49D31CF7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AEB6BA-C9FF-1261-4CC0-45D95BB51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3A0F62-2652-CBE0-4460-739B8DDFC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3" y="1700808"/>
            <a:ext cx="4016719" cy="46282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5B5071-0176-1F4F-7324-A23A26F88641}"/>
              </a:ext>
            </a:extLst>
          </p:cNvPr>
          <p:cNvSpPr txBox="1"/>
          <p:nvPr/>
        </p:nvSpPr>
        <p:spPr bwMode="auto">
          <a:xfrm>
            <a:off x="1938767" y="2340600"/>
            <a:ext cx="142645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solidFill>
                  <a:schemeClr val="bg1"/>
                </a:solidFill>
                <a:latin typeface="+mn-lt"/>
              </a:rPr>
              <a:t>A</a:t>
            </a:r>
            <a:r>
              <a:rPr lang="en-SG" sz="1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plitu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1D44EB-C5DA-D245-8FD0-9ADB22D0E334}"/>
              </a:ext>
            </a:extLst>
          </p:cNvPr>
          <p:cNvSpPr txBox="1"/>
          <p:nvPr/>
        </p:nvSpPr>
        <p:spPr bwMode="auto">
          <a:xfrm>
            <a:off x="1938766" y="3725520"/>
            <a:ext cx="142645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89D476-687B-B939-F86D-F38EE8CF1A0E}"/>
              </a:ext>
            </a:extLst>
          </p:cNvPr>
          <p:cNvSpPr txBox="1"/>
          <p:nvPr/>
        </p:nvSpPr>
        <p:spPr bwMode="auto">
          <a:xfrm>
            <a:off x="1976649" y="5107518"/>
            <a:ext cx="142645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0116CE-7BC2-23B6-7353-40D79502291E}"/>
              </a:ext>
            </a:extLst>
          </p:cNvPr>
          <p:cNvSpPr txBox="1"/>
          <p:nvPr/>
        </p:nvSpPr>
        <p:spPr bwMode="auto">
          <a:xfrm>
            <a:off x="79584" y="1081606"/>
            <a:ext cx="5220581" cy="493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kern="0" baseline="0" dirty="0">
                <a:latin typeface="+mn-lt"/>
                <a:ea typeface="+mn-ea"/>
                <a:cs typeface="+mn-cs"/>
              </a:rPr>
              <a:t>Based on the different project, need to change the definition, you can check program or AMSA results to change 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BC6AF4-7640-EDC0-457E-B9E4ADBEA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3852" y="2642478"/>
            <a:ext cx="6949502" cy="348322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A5F90AB-C858-3EB2-5B92-65BAFE9BF2E3}"/>
              </a:ext>
            </a:extLst>
          </p:cNvPr>
          <p:cNvSpPr/>
          <p:nvPr/>
        </p:nvSpPr>
        <p:spPr bwMode="auto">
          <a:xfrm>
            <a:off x="9948428" y="3104964"/>
            <a:ext cx="324036" cy="180020"/>
          </a:xfrm>
          <a:prstGeom prst="rect">
            <a:avLst/>
          </a:prstGeom>
          <a:noFill/>
          <a:ln w="38100">
            <a:solidFill>
              <a:srgbClr val="FCD44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78B905-D19E-BF99-38FE-44EF32F3E278}"/>
              </a:ext>
            </a:extLst>
          </p:cNvPr>
          <p:cNvSpPr/>
          <p:nvPr/>
        </p:nvSpPr>
        <p:spPr bwMode="auto">
          <a:xfrm>
            <a:off x="8940316" y="3284984"/>
            <a:ext cx="324036" cy="180020"/>
          </a:xfrm>
          <a:prstGeom prst="rect">
            <a:avLst/>
          </a:prstGeom>
          <a:noFill/>
          <a:ln w="38100">
            <a:solidFill>
              <a:srgbClr val="FCD44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DB1A1D-FBB3-F7D3-5104-4C061D6E113F}"/>
              </a:ext>
            </a:extLst>
          </p:cNvPr>
          <p:cNvSpPr/>
          <p:nvPr/>
        </p:nvSpPr>
        <p:spPr bwMode="auto">
          <a:xfrm>
            <a:off x="10104189" y="4102219"/>
            <a:ext cx="324036" cy="180020"/>
          </a:xfrm>
          <a:prstGeom prst="rect">
            <a:avLst/>
          </a:prstGeom>
          <a:noFill/>
          <a:ln w="38100">
            <a:solidFill>
              <a:srgbClr val="FCD44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A9A699-4FA7-03BC-AF0D-4892FC0B64AB}"/>
              </a:ext>
            </a:extLst>
          </p:cNvPr>
          <p:cNvSpPr txBox="1"/>
          <p:nvPr/>
        </p:nvSpPr>
        <p:spPr bwMode="auto">
          <a:xfrm>
            <a:off x="5255926" y="1583113"/>
            <a:ext cx="6856490" cy="96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latin typeface="+mn-lt"/>
              </a:rPr>
              <a:t>remember to change NPM to HPM for digital device, if not change, cannot  </a:t>
            </a:r>
            <a:r>
              <a:rPr lang="en-US" altLang="zh-CN" sz="1800" kern="0" dirty="0">
                <a:latin typeface="+mn-lt"/>
              </a:rPr>
              <a:t>search </a:t>
            </a:r>
            <a:r>
              <a:rPr lang="en-SG" sz="1800" kern="0" dirty="0">
                <a:latin typeface="+mn-lt"/>
              </a:rPr>
              <a:t>the data in AMSA </a:t>
            </a:r>
            <a:r>
              <a:rPr lang="en-US" altLang="zh-CN" sz="1800" kern="0" dirty="0">
                <a:latin typeface="+mn-lt"/>
              </a:rPr>
              <a:t>raw data</a:t>
            </a:r>
            <a:endParaRPr lang="en-SG" sz="1800" kern="0" dirty="0">
              <a:latin typeface="+mn-lt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dirty="0">
                <a:latin typeface="+mn-lt"/>
              </a:rPr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3C22EF3-796D-0C14-A828-7804281E0BB1}"/>
              </a:ext>
            </a:extLst>
          </p:cNvPr>
          <p:cNvSpPr/>
          <p:nvPr/>
        </p:nvSpPr>
        <p:spPr bwMode="auto">
          <a:xfrm>
            <a:off x="9014719" y="4282239"/>
            <a:ext cx="324036" cy="180020"/>
          </a:xfrm>
          <a:prstGeom prst="rect">
            <a:avLst/>
          </a:prstGeom>
          <a:noFill/>
          <a:ln w="38100">
            <a:solidFill>
              <a:srgbClr val="FCD44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0E4565F-F771-EC50-7428-DA5AA1F0BF9A}"/>
              </a:ext>
            </a:extLst>
          </p:cNvPr>
          <p:cNvSpPr/>
          <p:nvPr/>
        </p:nvSpPr>
        <p:spPr bwMode="auto">
          <a:xfrm>
            <a:off x="9624392" y="5077362"/>
            <a:ext cx="324036" cy="180020"/>
          </a:xfrm>
          <a:prstGeom prst="rect">
            <a:avLst/>
          </a:prstGeom>
          <a:noFill/>
          <a:ln w="38100">
            <a:solidFill>
              <a:srgbClr val="FCD44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AA3122-C246-E9FE-C2CE-508701BD0AA3}"/>
              </a:ext>
            </a:extLst>
          </p:cNvPr>
          <p:cNvSpPr/>
          <p:nvPr/>
        </p:nvSpPr>
        <p:spPr bwMode="auto">
          <a:xfrm>
            <a:off x="8672776" y="5203366"/>
            <a:ext cx="324036" cy="180020"/>
          </a:xfrm>
          <a:prstGeom prst="rect">
            <a:avLst/>
          </a:prstGeom>
          <a:noFill/>
          <a:ln w="38100">
            <a:solidFill>
              <a:srgbClr val="FCD44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D34CB4F-A51C-7614-3154-B630FF2866BC}"/>
              </a:ext>
            </a:extLst>
          </p:cNvPr>
          <p:cNvSpPr txBox="1"/>
          <p:nvPr/>
        </p:nvSpPr>
        <p:spPr bwMode="auto">
          <a:xfrm>
            <a:off x="5494660" y="840795"/>
            <a:ext cx="4296221" cy="337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zh-CN" altLang="en-US" sz="2000" b="1" kern="0" dirty="0">
                <a:solidFill>
                  <a:srgbClr val="FF0000"/>
                </a:solidFill>
                <a:latin typeface="+mn-lt"/>
              </a:rPr>
              <a:t>！ </a:t>
            </a:r>
            <a:r>
              <a:rPr lang="en-US" altLang="zh-CN" sz="2000" b="1" kern="0" dirty="0">
                <a:solidFill>
                  <a:srgbClr val="FF0000"/>
                </a:solidFill>
                <a:latin typeface="+mn-lt"/>
              </a:rPr>
              <a:t>remember to change file folder</a:t>
            </a:r>
            <a:endParaRPr lang="en-SG" sz="2000" b="1" kern="0" baseline="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424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BF4D9-EC64-1D20-858F-C2A19D2AF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results come out</a:t>
            </a:r>
            <a:endParaRPr lang="en-SG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B3F60F-8FDE-806E-0EDC-8CA0C5AAF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DAD640-F44E-919F-E97D-E562160B3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93246A-F5D7-AE9C-3A7C-22B460ADA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1088740"/>
            <a:ext cx="9505056" cy="337221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A826450-BB39-56C0-B3F2-C95C75A03261}"/>
              </a:ext>
            </a:extLst>
          </p:cNvPr>
          <p:cNvSpPr/>
          <p:nvPr/>
        </p:nvSpPr>
        <p:spPr bwMode="auto">
          <a:xfrm>
            <a:off x="4943872" y="2960948"/>
            <a:ext cx="2376264" cy="150000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SG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1F3E9-0744-C9FD-F382-7C0130A7D4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743" y="5409220"/>
            <a:ext cx="9346638" cy="43204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628172F-0BA1-E3A3-25CE-C354A0283F5D}"/>
              </a:ext>
            </a:extLst>
          </p:cNvPr>
          <p:cNvSpPr txBox="1"/>
          <p:nvPr/>
        </p:nvSpPr>
        <p:spPr bwMode="auto">
          <a:xfrm>
            <a:off x="1055439" y="4761148"/>
            <a:ext cx="4408291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sz="1800" kern="0" baseline="0" dirty="0">
                <a:latin typeface="+mn-lt"/>
                <a:ea typeface="+mn-ea"/>
                <a:cs typeface="+mn-cs"/>
              </a:rPr>
              <a:t>G</a:t>
            </a:r>
            <a:r>
              <a:rPr lang="en-US" altLang="zh-CN" sz="1800" kern="0" baseline="0" dirty="0">
                <a:latin typeface="+mn-lt"/>
                <a:ea typeface="+mn-ea"/>
                <a:cs typeface="+mn-cs"/>
              </a:rPr>
              <a:t>et new ACC</a:t>
            </a:r>
            <a:r>
              <a:rPr lang="en-SG" altLang="zh-CN" sz="1800" kern="0" dirty="0">
                <a:latin typeface="+mn-lt"/>
              </a:rPr>
              <a:t> F</a:t>
            </a:r>
            <a:r>
              <a:rPr lang="en-US" altLang="zh-CN" sz="1800" kern="0" dirty="0">
                <a:latin typeface="+mn-lt"/>
              </a:rPr>
              <a:t>older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SG" altLang="zh-CN" sz="1800" kern="0" dirty="0">
                <a:latin typeface="+mn-lt"/>
              </a:rPr>
              <a:t>can</a:t>
            </a:r>
            <a:r>
              <a:rPr lang="zh-CN" altLang="en-US" sz="1800" kern="0" dirty="0">
                <a:latin typeface="+mn-lt"/>
              </a:rPr>
              <a:t> </a:t>
            </a:r>
            <a:r>
              <a:rPr lang="en-SG" altLang="zh-CN" sz="1800" kern="0" dirty="0">
                <a:latin typeface="+mn-lt"/>
              </a:rPr>
              <a:t>monitor</a:t>
            </a:r>
            <a:r>
              <a:rPr lang="zh-CN" altLang="en-US" sz="1800" kern="0" dirty="0">
                <a:latin typeface="+mn-lt"/>
              </a:rPr>
              <a:t> </a:t>
            </a:r>
            <a:r>
              <a:rPr lang="en-SG" altLang="zh-CN" sz="1800" kern="0" dirty="0">
                <a:latin typeface="+mn-lt"/>
              </a:rPr>
              <a:t>file</a:t>
            </a:r>
            <a:r>
              <a:rPr lang="zh-CN" altLang="en-US" sz="1800" kern="0" dirty="0">
                <a:latin typeface="+mn-lt"/>
              </a:rPr>
              <a:t> </a:t>
            </a:r>
            <a:r>
              <a:rPr lang="en-SG" altLang="zh-CN" sz="1800" kern="0" dirty="0">
                <a:latin typeface="+mn-lt"/>
              </a:rPr>
              <a:t>generate</a:t>
            </a:r>
            <a:r>
              <a:rPr lang="zh-CN" altLang="en-US" sz="1800" kern="0" dirty="0">
                <a:latin typeface="+mn-lt"/>
              </a:rPr>
              <a:t> </a:t>
            </a:r>
            <a:r>
              <a:rPr lang="en-SG" altLang="zh-CN" sz="1800" kern="0" dirty="0">
                <a:latin typeface="+mn-lt"/>
              </a:rPr>
              <a:t>time</a:t>
            </a:r>
            <a:r>
              <a:rPr lang="zh-CN" altLang="en-US" sz="1800" kern="0" dirty="0">
                <a:latin typeface="+mn-lt"/>
              </a:rPr>
              <a:t> </a:t>
            </a:r>
            <a:r>
              <a:rPr lang="en-SG" altLang="zh-CN" sz="1800" kern="0" dirty="0">
                <a:latin typeface="+mn-lt"/>
              </a:rPr>
              <a:t>to</a:t>
            </a:r>
            <a:r>
              <a:rPr lang="zh-CN" altLang="en-US" sz="1800" kern="0" dirty="0">
                <a:latin typeface="+mn-lt"/>
              </a:rPr>
              <a:t> </a:t>
            </a:r>
            <a:r>
              <a:rPr lang="en-SG" altLang="zh-CN" sz="1800" kern="0" dirty="0">
                <a:latin typeface="+mn-lt"/>
              </a:rPr>
              <a:t>confirm</a:t>
            </a:r>
            <a:endParaRPr lang="en-US" altLang="zh-CN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7101732-CE15-2BBF-F314-25C7ED2A56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1054" y="4623868"/>
            <a:ext cx="481965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09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f8120ca7-cceb-428f-a7d0-f20ce9397e1b"/>
  <p:tag name="MIO_UPDATE" val="True"/>
  <p:tag name="MIO_DBID" val="FDE84254-54DB-49E3-9A0E-CDE72035D530"/>
  <p:tag name="MIO_OBJECTNAME" val="Infineon LCD 16:9"/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VERSION" val="13.05.2023 07:12:22"/>
  <p:tag name="MIO_LASTDOWNLOADED" val="14.06.2023 11:29:10.545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C21EDCC5-9554-4396-8A1F-E6CB63A5C47B}" vid="{D4180EAC-3F32-4BC4-A428-C84CC11F67AE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9</TotalTime>
  <Words>172</Words>
  <Application>Microsoft Office PowerPoint</Application>
  <PresentationFormat>Widescreen</PresentationFormat>
  <Paragraphs>33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Arial</vt:lpstr>
      <vt:lpstr>Infineon 16:9</vt:lpstr>
      <vt:lpstr>ACC compensation user manual Project - Akari</vt:lpstr>
      <vt:lpstr>program running environment </vt:lpstr>
      <vt:lpstr>Prepare documents or folder </vt:lpstr>
      <vt:lpstr>Information</vt:lpstr>
      <vt:lpstr>remember to change 1 </vt:lpstr>
      <vt:lpstr>results come out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hl Verena (IFAG CP CC BSD / External)</dc:creator>
  <cp:lastModifiedBy>Wang Linlin (IFAP DC PSS RDA RFS PTE)</cp:lastModifiedBy>
  <cp:revision>18</cp:revision>
  <dcterms:created xsi:type="dcterms:W3CDTF">2023-05-12T09:29:06Z</dcterms:created>
  <dcterms:modified xsi:type="dcterms:W3CDTF">2023-06-14T04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